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8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5A5A"/>
    <a:srgbClr val="8D8D8D"/>
    <a:srgbClr val="C60018"/>
    <a:srgbClr val="444444"/>
    <a:srgbClr val="F6F6F6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20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E8827AA4-2419-4C8D-B54D-89394AE086F6}"/>
    <pc:docChg chg="delSld">
      <pc:chgData name="Meyer Raphael (PAR-ES)" userId="79615dfe-ed48-4e74-a40f-4f7b034c1c27" providerId="ADAL" clId="{E8827AA4-2419-4C8D-B54D-89394AE086F6}" dt="2022-03-03T14:52:48.939" v="1" actId="47"/>
      <pc:docMkLst>
        <pc:docMk/>
      </pc:docMkLst>
      <pc:sldChg chg="del">
        <pc:chgData name="Meyer Raphael (PAR-ES)" userId="79615dfe-ed48-4e74-a40f-4f7b034c1c27" providerId="ADAL" clId="{E8827AA4-2419-4C8D-B54D-89394AE086F6}" dt="2022-03-03T14:52:45.980" v="0" actId="47"/>
        <pc:sldMkLst>
          <pc:docMk/>
          <pc:sldMk cId="2001825019" sldId="407"/>
        </pc:sldMkLst>
      </pc:sldChg>
      <pc:sldChg chg="del">
        <pc:chgData name="Meyer Raphael (PAR-ES)" userId="79615dfe-ed48-4e74-a40f-4f7b034c1c27" providerId="ADAL" clId="{E8827AA4-2419-4C8D-B54D-89394AE086F6}" dt="2022-03-03T14:52:48.939" v="1" actId="47"/>
        <pc:sldMkLst>
          <pc:docMk/>
          <pc:sldMk cId="236440730" sldId="409"/>
        </pc:sldMkLst>
      </pc:sldChg>
      <pc:sldChg chg="del">
        <pc:chgData name="Meyer Raphael (PAR-ES)" userId="79615dfe-ed48-4e74-a40f-4f7b034c1c27" providerId="ADAL" clId="{E8827AA4-2419-4C8D-B54D-89394AE086F6}" dt="2022-03-03T14:52:45.980" v="0" actId="47"/>
        <pc:sldMkLst>
          <pc:docMk/>
          <pc:sldMk cId="287567285" sldId="410"/>
        </pc:sldMkLst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Meyer Raphael (PAR-ES)" userId="79615dfe-ed48-4e74-a40f-4f7b034c1c27" providerId="ADAL" clId="{C15D79E0-DC62-487B-90C2-1D37007376CA}"/>
    <pc:docChg chg="custSel modSld">
      <pc:chgData name="Meyer Raphael (PAR-ES)" userId="79615dfe-ed48-4e74-a40f-4f7b034c1c27" providerId="ADAL" clId="{C15D79E0-DC62-487B-90C2-1D37007376CA}" dt="2023-02-24T11:07:46.198" v="4" actId="478"/>
      <pc:docMkLst>
        <pc:docMk/>
      </pc:docMkLst>
      <pc:sldChg chg="delSp mod">
        <pc:chgData name="Meyer Raphael (PAR-ES)" userId="79615dfe-ed48-4e74-a40f-4f7b034c1c27" providerId="ADAL" clId="{C15D79E0-DC62-487B-90C2-1D37007376CA}" dt="2023-02-24T11:07:46.198" v="4" actId="478"/>
        <pc:sldMkLst>
          <pc:docMk/>
          <pc:sldMk cId="2775483100" sldId="408"/>
        </pc:sldMkLst>
        <pc:spChg chg="del">
          <ac:chgData name="Meyer Raphael (PAR-ES)" userId="79615dfe-ed48-4e74-a40f-4f7b034c1c27" providerId="ADAL" clId="{C15D79E0-DC62-487B-90C2-1D37007376CA}" dt="2023-02-24T11:07:46.198" v="4" actId="478"/>
          <ac:spMkLst>
            <pc:docMk/>
            <pc:sldMk cId="2775483100" sldId="408"/>
            <ac:spMk id="11" creationId="{045A27AD-E3C8-4822-85DF-F2C9129A4E35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019F8519-991A-42F8-8A00-1073315C524B}"/>
    <pc:docChg chg="custSel addSld delSld modSld sldOrd">
      <pc:chgData name="Meyer Raphael (PAR-ES)" userId="79615dfe-ed48-4e74-a40f-4f7b034c1c27" providerId="ADAL" clId="{019F8519-991A-42F8-8A00-1073315C524B}" dt="2022-03-03T14:42:21.972" v="53" actId="27918"/>
      <pc:docMkLst>
        <pc:docMk/>
      </pc:docMkLst>
      <pc:sldChg chg="modSp mod">
        <pc:chgData name="Meyer Raphael (PAR-ES)" userId="79615dfe-ed48-4e74-a40f-4f7b034c1c27" providerId="ADAL" clId="{019F8519-991A-42F8-8A00-1073315C524B}" dt="2022-03-03T14:34:57.432" v="7" actId="27918"/>
        <pc:sldMkLst>
          <pc:docMk/>
          <pc:sldMk cId="2001825019" sldId="407"/>
        </pc:sldMkLst>
        <pc:graphicFrameChg chg="mod">
          <ac:chgData name="Meyer Raphael (PAR-ES)" userId="79615dfe-ed48-4e74-a40f-4f7b034c1c27" providerId="ADAL" clId="{019F8519-991A-42F8-8A00-1073315C524B}" dt="2022-03-03T14:34:25.718" v="4"/>
          <ac:graphicFrameMkLst>
            <pc:docMk/>
            <pc:sldMk cId="2001825019" sldId="407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19F8519-991A-42F8-8A00-1073315C524B}" dt="2022-03-03T14:40:31.808" v="38" actId="27918"/>
        <pc:sldMkLst>
          <pc:docMk/>
          <pc:sldMk cId="2775483100" sldId="408"/>
        </pc:sldMkLst>
        <pc:spChg chg="mod">
          <ac:chgData name="Meyer Raphael (PAR-ES)" userId="79615dfe-ed48-4e74-a40f-4f7b034c1c27" providerId="ADAL" clId="{019F8519-991A-42F8-8A00-1073315C524B}" dt="2022-03-03T14:39:21.783" v="23"/>
          <ac:spMkLst>
            <pc:docMk/>
            <pc:sldMk cId="2775483100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19F8519-991A-42F8-8A00-1073315C524B}" dt="2022-03-03T14:39:35.158" v="25" actId="20577"/>
          <ac:spMkLst>
            <pc:docMk/>
            <pc:sldMk cId="2775483100" sldId="408"/>
            <ac:spMk id="8" creationId="{41FD5CBC-8C89-4499-B28B-5EC68806F1EB}"/>
          </ac:spMkLst>
        </pc:spChg>
        <pc:spChg chg="mod">
          <ac:chgData name="Meyer Raphael (PAR-ES)" userId="79615dfe-ed48-4e74-a40f-4f7b034c1c27" providerId="ADAL" clId="{019F8519-991A-42F8-8A00-1073315C524B}" dt="2022-03-03T14:39:57.410" v="31" actId="20577"/>
          <ac:spMkLst>
            <pc:docMk/>
            <pc:sldMk cId="2775483100" sldId="408"/>
            <ac:spMk id="10" creationId="{A3DB4B5C-8AF8-4D76-8E11-2708D9423565}"/>
          </ac:spMkLst>
        </pc:spChg>
      </pc:sldChg>
      <pc:sldChg chg="del">
        <pc:chgData name="Meyer Raphael (PAR-ES)" userId="79615dfe-ed48-4e74-a40f-4f7b034c1c27" providerId="ADAL" clId="{019F8519-991A-42F8-8A00-1073315C524B}" dt="2022-03-03T14:32:30.075" v="0" actId="47"/>
        <pc:sldMkLst>
          <pc:docMk/>
          <pc:sldMk cId="2820921500" sldId="408"/>
        </pc:sldMkLst>
      </pc:sldChg>
      <pc:sldChg chg="modSp add mod">
        <pc:chgData name="Meyer Raphael (PAR-ES)" userId="79615dfe-ed48-4e74-a40f-4f7b034c1c27" providerId="ADAL" clId="{019F8519-991A-42F8-8A00-1073315C524B}" dt="2022-03-03T14:42:21.972" v="53" actId="27918"/>
        <pc:sldMkLst>
          <pc:docMk/>
          <pc:sldMk cId="236440730" sldId="409"/>
        </pc:sldMkLst>
        <pc:spChg chg="mod">
          <ac:chgData name="Meyer Raphael (PAR-ES)" userId="79615dfe-ed48-4e74-a40f-4f7b034c1c27" providerId="ADAL" clId="{019F8519-991A-42F8-8A00-1073315C524B}" dt="2022-03-03T14:41:17.944" v="39"/>
          <ac:spMkLst>
            <pc:docMk/>
            <pc:sldMk cId="236440730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19F8519-991A-42F8-8A00-1073315C524B}" dt="2022-03-03T14:41:30.816" v="41" actId="20577"/>
          <ac:spMkLst>
            <pc:docMk/>
            <pc:sldMk cId="236440730" sldId="409"/>
            <ac:spMk id="8" creationId="{41FD5CBC-8C89-4499-B28B-5EC68806F1EB}"/>
          </ac:spMkLst>
        </pc:spChg>
        <pc:spChg chg="mod">
          <ac:chgData name="Meyer Raphael (PAR-ES)" userId="79615dfe-ed48-4e74-a40f-4f7b034c1c27" providerId="ADAL" clId="{019F8519-991A-42F8-8A00-1073315C524B}" dt="2022-03-03T14:41:48.239" v="46" actId="20577"/>
          <ac:spMkLst>
            <pc:docMk/>
            <pc:sldMk cId="236440730" sldId="409"/>
            <ac:spMk id="10" creationId="{A3DB4B5C-8AF8-4D76-8E11-2708D9423565}"/>
          </ac:spMkLst>
        </pc:spChg>
      </pc:sldChg>
      <pc:sldChg chg="modSp add mod ord">
        <pc:chgData name="Meyer Raphael (PAR-ES)" userId="79615dfe-ed48-4e74-a40f-4f7b034c1c27" providerId="ADAL" clId="{019F8519-991A-42F8-8A00-1073315C524B}" dt="2022-03-03T14:38:53.634" v="22"/>
        <pc:sldMkLst>
          <pc:docMk/>
          <pc:sldMk cId="287567285" sldId="410"/>
        </pc:sldMkLst>
        <pc:spChg chg="mod">
          <ac:chgData name="Meyer Raphael (PAR-ES)" userId="79615dfe-ed48-4e74-a40f-4f7b034c1c27" providerId="ADAL" clId="{019F8519-991A-42F8-8A00-1073315C524B}" dt="2022-03-03T14:36:27.101" v="11"/>
          <ac:spMkLst>
            <pc:docMk/>
            <pc:sldMk cId="287567285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19F8519-991A-42F8-8A00-1073315C524B}" dt="2022-03-03T14:36:37.807" v="13" actId="20577"/>
          <ac:spMkLst>
            <pc:docMk/>
            <pc:sldMk cId="287567285" sldId="410"/>
            <ac:spMk id="8" creationId="{41FD5CBC-8C89-4499-B28B-5EC68806F1EB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Weigel Stefan (PAR-EPS)" userId="fd3b2067-2981-4ad8-bf3a-d2e1004e4fa8" providerId="ADAL" clId="{4D2077B0-1D47-4CC6-868D-47550EA89363}"/>
    <pc:docChg chg="custSel modSld">
      <pc:chgData name="Weigel Stefan (PAR-EPS)" userId="fd3b2067-2981-4ad8-bf3a-d2e1004e4fa8" providerId="ADAL" clId="{4D2077B0-1D47-4CC6-868D-47550EA89363}" dt="2024-02-01T17:16:32.579" v="13" actId="27918"/>
      <pc:docMkLst>
        <pc:docMk/>
      </pc:docMkLst>
      <pc:sldChg chg="modSp mod">
        <pc:chgData name="Weigel Stefan (PAR-EPS)" userId="fd3b2067-2981-4ad8-bf3a-d2e1004e4fa8" providerId="ADAL" clId="{4D2077B0-1D47-4CC6-868D-47550EA89363}" dt="2024-02-01T17:16:32.579" v="13" actId="27918"/>
        <pc:sldMkLst>
          <pc:docMk/>
          <pc:sldMk cId="2775483100" sldId="408"/>
        </pc:sldMkLst>
        <pc:spChg chg="mod">
          <ac:chgData name="Weigel Stefan (PAR-EPS)" userId="fd3b2067-2981-4ad8-bf3a-d2e1004e4fa8" providerId="ADAL" clId="{4D2077B0-1D47-4CC6-868D-47550EA89363}" dt="2024-02-01T17:15:26.904" v="2" actId="20577"/>
          <ac:spMkLst>
            <pc:docMk/>
            <pc:sldMk cId="2775483100" sldId="408"/>
            <ac:spMk id="10" creationId="{A3DB4B5C-8AF8-4D76-8E11-2708D9423565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62907529120849E-2"/>
          <c:y val="9.0509769134196866E-2"/>
          <c:w val="0.88406650614954119"/>
          <c:h val="0.7373309477450928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Trafic voyageurs</c:v>
                </c:pt>
              </c:strCache>
            </c:strRef>
          </c:tx>
          <c:spPr>
            <a:solidFill>
              <a:srgbClr val="DCDCDC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14165.198333333299</c:v>
                </c:pt>
                <c:pt idx="1">
                  <c:v>14263.012500000001</c:v>
                </c:pt>
                <c:pt idx="2">
                  <c:v>14269.518333333301</c:v>
                </c:pt>
                <c:pt idx="3">
                  <c:v>14278.76</c:v>
                </c:pt>
                <c:pt idx="4">
                  <c:v>14234.0841666667</c:v>
                </c:pt>
                <c:pt idx="5">
                  <c:v>13989.9183333333</c:v>
                </c:pt>
                <c:pt idx="6">
                  <c:v>14192.7133333333</c:v>
                </c:pt>
                <c:pt idx="7">
                  <c:v>14680.4273333333</c:v>
                </c:pt>
                <c:pt idx="8">
                  <c:v>15055.8178333333</c:v>
                </c:pt>
                <c:pt idx="9">
                  <c:v>15124.152</c:v>
                </c:pt>
                <c:pt idx="10">
                  <c:v>15304.7903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32-475B-9895-C8153D632F4B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Immobilier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801.95666666666705</c:v>
                </c:pt>
                <c:pt idx="1">
                  <c:v>816.52</c:v>
                </c:pt>
                <c:pt idx="2">
                  <c:v>816.73749999999995</c:v>
                </c:pt>
                <c:pt idx="3">
                  <c:v>791.30833333333305</c:v>
                </c:pt>
                <c:pt idx="4">
                  <c:v>779.07666666666705</c:v>
                </c:pt>
                <c:pt idx="5">
                  <c:v>775.75833333333298</c:v>
                </c:pt>
                <c:pt idx="6">
                  <c:v>790.16250000000002</c:v>
                </c:pt>
                <c:pt idx="7">
                  <c:v>793.05</c:v>
                </c:pt>
                <c:pt idx="8">
                  <c:v>780.30416666666702</c:v>
                </c:pt>
                <c:pt idx="9">
                  <c:v>1012.3375</c:v>
                </c:pt>
                <c:pt idx="10">
                  <c:v>1111.9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Trafic marchandises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3060.6058333333299</c:v>
                </c:pt>
                <c:pt idx="1">
                  <c:v>2995.4666666666699</c:v>
                </c:pt>
                <c:pt idx="2">
                  <c:v>3111.4358333333298</c:v>
                </c:pt>
                <c:pt idx="3">
                  <c:v>3075.0916666666699</c:v>
                </c:pt>
                <c:pt idx="4">
                  <c:v>3114.4974999999999</c:v>
                </c:pt>
                <c:pt idx="5">
                  <c:v>3084.3791666666698</c:v>
                </c:pt>
                <c:pt idx="6">
                  <c:v>3131.9108333333302</c:v>
                </c:pt>
                <c:pt idx="7">
                  <c:v>3225.45166666667</c:v>
                </c:pt>
                <c:pt idx="8">
                  <c:v>3222.3150000000001</c:v>
                </c:pt>
                <c:pt idx="9">
                  <c:v>3283.7908333333298</c:v>
                </c:pt>
                <c:pt idx="10">
                  <c:v>3382.06683333333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frastructure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F$9:$F$19</c:f>
              <c:numCache>
                <c:formatCode>#,##0</c:formatCode>
                <c:ptCount val="11"/>
                <c:pt idx="0">
                  <c:v>10078.11</c:v>
                </c:pt>
                <c:pt idx="1">
                  <c:v>10375.9333333333</c:v>
                </c:pt>
                <c:pt idx="2">
                  <c:v>10313.2808333333</c:v>
                </c:pt>
                <c:pt idx="3">
                  <c:v>10322.555</c:v>
                </c:pt>
                <c:pt idx="4">
                  <c:v>10077.1675</c:v>
                </c:pt>
                <c:pt idx="5">
                  <c:v>9857.0010000000002</c:v>
                </c:pt>
                <c:pt idx="6">
                  <c:v>9776.7006666666693</c:v>
                </c:pt>
                <c:pt idx="7">
                  <c:v>9978.1352499999994</c:v>
                </c:pt>
                <c:pt idx="8">
                  <c:v>9999.1679999999997</c:v>
                </c:pt>
                <c:pt idx="9">
                  <c:v>9834.6158333333296</c:v>
                </c:pt>
                <c:pt idx="10">
                  <c:v>10060.2183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32-475B-9895-C8153D632F4B}"/>
            </c:ext>
          </c:extLst>
        </c:ser>
        <c:ser>
          <c:idx val="4"/>
          <c:order val="4"/>
          <c:tx>
            <c:strRef>
              <c:f>data!$G$8</c:f>
              <c:strCache>
                <c:ptCount val="1"/>
                <c:pt idx="0">
                  <c:v>Unités centrales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G$9:$G$19</c:f>
              <c:numCache>
                <c:formatCode>#,##0</c:formatCode>
                <c:ptCount val="11"/>
                <c:pt idx="0">
                  <c:v>3051.8458333333301</c:v>
                </c:pt>
                <c:pt idx="1">
                  <c:v>4405.7124999999996</c:v>
                </c:pt>
                <c:pt idx="2">
                  <c:v>4570.2008333333297</c:v>
                </c:pt>
                <c:pt idx="3">
                  <c:v>4650.9224999999997</c:v>
                </c:pt>
                <c:pt idx="4">
                  <c:v>4549.5791666666701</c:v>
                </c:pt>
                <c:pt idx="5">
                  <c:v>4601.68</c:v>
                </c:pt>
                <c:pt idx="6">
                  <c:v>4643.5958333333301</c:v>
                </c:pt>
                <c:pt idx="7">
                  <c:v>4821.2974999999997</c:v>
                </c:pt>
                <c:pt idx="8">
                  <c:v>4885.0749999999998</c:v>
                </c:pt>
                <c:pt idx="9">
                  <c:v>4972.0209999999997</c:v>
                </c:pt>
                <c:pt idx="10">
                  <c:v>5127.76683333333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</c:barChart>
      <c:lineChart>
        <c:grouping val="standard"/>
        <c:varyColors val="0"/>
        <c:ser>
          <c:idx val="5"/>
          <c:order val="5"/>
          <c:tx>
            <c:strRef>
              <c:f>data!$H$8</c:f>
              <c:strCache>
                <c:ptCount val="1"/>
                <c:pt idx="0">
                  <c:v>Part de femmes</c:v>
                </c:pt>
              </c:strCache>
            </c:strRef>
          </c:tx>
          <c:spPr>
            <a:ln>
              <a:solidFill>
                <a:srgbClr val="EB0000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H$9:$H$19</c:f>
              <c:numCache>
                <c:formatCode>#,##0.0</c:formatCode>
                <c:ptCount val="11"/>
                <c:pt idx="0">
                  <c:v>16.413112909556698</c:v>
                </c:pt>
                <c:pt idx="1">
                  <c:v>16.706779904993098</c:v>
                </c:pt>
                <c:pt idx="2">
                  <c:v>16.869850128369801</c:v>
                </c:pt>
                <c:pt idx="3">
                  <c:v>16.9864016168254</c:v>
                </c:pt>
                <c:pt idx="4">
                  <c:v>17.086566956641398</c:v>
                </c:pt>
                <c:pt idx="5">
                  <c:v>17.294466952361901</c:v>
                </c:pt>
                <c:pt idx="6">
                  <c:v>17.743488314596998</c:v>
                </c:pt>
                <c:pt idx="7">
                  <c:v>18.388368529331199</c:v>
                </c:pt>
                <c:pt idx="8">
                  <c:v>18.807508997179099</c:v>
                </c:pt>
                <c:pt idx="9">
                  <c:v>19.004231973653201</c:v>
                </c:pt>
                <c:pt idx="10">
                  <c:v>19.4342755792735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  <c:max val="400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  <c:majorUnit val="10000"/>
      </c:valAx>
      <c:valAx>
        <c:axId val="164956032"/>
        <c:scaling>
          <c:orientation val="minMax"/>
          <c:max val="40"/>
        </c:scaling>
        <c:delete val="0"/>
        <c:axPos val="r"/>
        <c:numFmt formatCode="#,##0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000"/>
            </a:pPr>
            <a:endParaRPr lang="de-DE"/>
          </a:p>
        </c:txPr>
        <c:crossAx val="165049088"/>
        <c:crosses val="max"/>
        <c:crossBetween val="between"/>
        <c:majorUnit val="10"/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8.747283139194377E-2"/>
          <c:y val="0.89094027760027861"/>
          <c:w val="0.91252709637295903"/>
          <c:h val="0.106874244744039"/>
        </c:manualLayout>
      </c:layout>
      <c:overlay val="0"/>
      <c:txPr>
        <a:bodyPr/>
        <a:lstStyle/>
        <a:p>
          <a:pPr>
            <a:defRPr sz="10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3483</cdr:x>
      <cdr:y>0.0567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21169" cy="22659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>
              <a:solidFill>
                <a:srgbClr val="444444"/>
              </a:solidFill>
              <a:latin typeface="Arial" pitchFamily="34" charset="0"/>
              <a:cs typeface="Arial" pitchFamily="34" charset="0"/>
            </a:rPr>
            <a:t>ETP</a:t>
          </a:r>
          <a:endParaRPr lang="de-CH" sz="105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95126</cdr:x>
      <cdr:y>0</cdr:y>
    </cdr:from>
    <cdr:to>
      <cdr:x>1</cdr:x>
      <cdr:y>0.05678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770791" y="0"/>
          <a:ext cx="449409" cy="22659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de-CH" sz="1000" dirty="0">
              <a:solidFill>
                <a:srgbClr val="444444"/>
              </a:solidFill>
              <a:latin typeface="Arial" pitchFamily="34" charset="0"/>
              <a:cs typeface="Arial" pitchFamily="34" charset="0"/>
            </a:rPr>
            <a:t>% </a:t>
          </a:r>
          <a:r>
            <a:rPr lang="de-CH" sz="1000" dirty="0" err="1">
              <a:solidFill>
                <a:srgbClr val="444444"/>
              </a:solidFill>
              <a:latin typeface="Arial" pitchFamily="34" charset="0"/>
              <a:cs typeface="Arial" pitchFamily="34" charset="0"/>
            </a:rPr>
            <a:t>coll</a:t>
          </a:r>
          <a:r>
            <a:rPr lang="de-CH" sz="1000" dirty="0">
              <a:solidFill>
                <a:srgbClr val="444444"/>
              </a:solidFill>
              <a:latin typeface="Arial" pitchFamily="34" charset="0"/>
              <a:cs typeface="Arial" pitchFamily="34" charset="0"/>
            </a:rPr>
            <a:t>.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80931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err="1"/>
              <a:t>Effectifs</a:t>
            </a:r>
            <a:r>
              <a:rPr lang="de-CH" dirty="0"/>
              <a:t> du </a:t>
            </a:r>
            <a:r>
              <a:rPr lang="de-CH" dirty="0" err="1"/>
              <a:t>groupe</a:t>
            </a:r>
            <a:r>
              <a:rPr lang="de-CH" dirty="0"/>
              <a:t> CFF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987844826"/>
              </p:ext>
            </p:extLst>
          </p:nvPr>
        </p:nvGraphicFramePr>
        <p:xfrm>
          <a:off x="1494169" y="1886296"/>
          <a:ext cx="9220200" cy="3990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41FD5CBC-8C89-4499-B28B-5EC68806F1EB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Moyenne annuelle des employés à temps plein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</a:t>
            </a: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  <a:r>
              <a:rPr lang="de-CH" sz="1000" kern="0" spc="0" dirty="0" err="1">
                <a:solidFill>
                  <a:srgbClr val="444444"/>
                </a:solidFill>
                <a:latin typeface="SBB Light"/>
              </a:rPr>
              <a:t>sbb</a:t>
            </a: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ch</a:t>
            </a:r>
          </a:p>
        </p:txBody>
      </p:sp>
    </p:spTree>
    <p:extLst>
      <p:ext uri="{BB962C8B-B14F-4D97-AF65-F5344CB8AC3E}">
        <p14:creationId xmlns:p14="http://schemas.microsoft.com/office/powerpoint/2010/main" val="27754831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EADC08F-C726-4D58-89A9-560188E2F1B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96e82a89-ba48-4728-b345-cf206dbec8f1"/>
    <ds:schemaRef ds:uri="http://schemas.openxmlformats.org/package/2006/metadata/core-properties"/>
    <ds:schemaRef ds:uri="http://purl.org/dc/terms/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5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Effectifs du groupe CFF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ffectifs du groupe CFF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4-02-02T11:53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